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15"/>
  </p:notesMasterIdLst>
  <p:sldIdLst>
    <p:sldId id="265" r:id="rId3"/>
    <p:sldId id="495" r:id="rId4"/>
    <p:sldId id="264" r:id="rId5"/>
    <p:sldId id="475" r:id="rId6"/>
    <p:sldId id="476" r:id="rId7"/>
    <p:sldId id="477" r:id="rId8"/>
    <p:sldId id="478" r:id="rId9"/>
    <p:sldId id="479" r:id="rId10"/>
    <p:sldId id="480" r:id="rId11"/>
    <p:sldId id="481" r:id="rId12"/>
    <p:sldId id="496" r:id="rId13"/>
    <p:sldId id="48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E7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8" autoAdjust="0"/>
    <p:restoredTop sz="78143" autoAdjust="0"/>
  </p:normalViewPr>
  <p:slideViewPr>
    <p:cSldViewPr snapToGrid="0">
      <p:cViewPr varScale="1">
        <p:scale>
          <a:sx n="88" d="100"/>
          <a:sy n="88" d="100"/>
        </p:scale>
        <p:origin x="1356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144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38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535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548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vmlDrawing" Target="../drawings/vmlDrawing8.v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2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7B4991-5680-496C-9BA2-923177F4C6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908" y="322561"/>
            <a:ext cx="8896349" cy="835027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Print a set of event day posters for each floor or team. See below for additional set up instructions. 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5411B1-04C0-4254-9690-4D0A9812D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00D8FBA-BD9E-4E13-A0AD-B19456A637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8207" y="1977455"/>
            <a:ext cx="2423793" cy="3749996"/>
          </a:xfrm>
          <a:prstGeom prst="rect">
            <a:avLst/>
          </a:prstGeom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C93DBE18-8F20-40EE-8C64-637065DB21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821515"/>
              </p:ext>
            </p:extLst>
          </p:nvPr>
        </p:nvGraphicFramePr>
        <p:xfrm>
          <a:off x="324116" y="1806816"/>
          <a:ext cx="9561540" cy="442708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492510">
                  <a:extLst>
                    <a:ext uri="{9D8B030D-6E8A-4147-A177-3AD203B41FA5}">
                      <a16:colId xmlns:a16="http://schemas.microsoft.com/office/drawing/2014/main" val="1553875949"/>
                    </a:ext>
                  </a:extLst>
                </a:gridCol>
                <a:gridCol w="6069030">
                  <a:extLst>
                    <a:ext uri="{9D8B030D-6E8A-4147-A177-3AD203B41FA5}">
                      <a16:colId xmlns:a16="http://schemas.microsoft.com/office/drawing/2014/main" val="848242381"/>
                    </a:ext>
                  </a:extLst>
                </a:gridCol>
              </a:tblGrid>
              <a:tr h="408568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oster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o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7064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urplus IT Equipment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large box for assets and peripherals in a central are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633375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urplus Furni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station equipped with post-it notes and sharpie markers in a central are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496315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aper Recyc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or on a paper recycling bi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3102229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hred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shredding bins/stations already located within your offic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56003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urplus Office Suppl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large box to accommodate additional stationar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272967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ed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large box that can accommodate media items to be destroyed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462344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arb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garbage stations already located within your offi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0785067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ecla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large box that can accommodate equip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570545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isinf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n area that houses all disinfection supplies and PP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272116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8FAB998-43CE-465E-9196-502794839DF4}"/>
              </a:ext>
            </a:extLst>
          </p:cNvPr>
          <p:cNvSpPr txBox="1"/>
          <p:nvPr/>
        </p:nvSpPr>
        <p:spPr>
          <a:xfrm>
            <a:off x="6313715" y="6328417"/>
            <a:ext cx="4212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The French version of this document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is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available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here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: </a:t>
            </a:r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R version</a:t>
            </a:r>
            <a:endParaRPr lang="en-CA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6830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IT EQUIPMEN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rplus IT equipment and peripherals should be placed here to return to IT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160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7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TAINED ASSET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sorted business assets identified for retention. Please label and identify according to the instructions provided in your guide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204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ISINFECT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use the provided sanitization items to clean all contacted surfaces. PPE is also provided, please wear as advise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33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2551289"/>
            <a:ext cx="10874424" cy="2829094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lean-up </a:t>
            </a:r>
            <a:r>
              <a:rPr kumimoji="0" lang="en-CA" altLang="en-US" sz="6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aptain</a:t>
            </a: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 Hub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collect all clean-up materials required. Clean-up Captain can assist with any questions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45DDE6-FF04-4CDF-BBD0-3E3003533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83198" y="2213992"/>
            <a:ext cx="1625601" cy="3887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9" name="Picture 8" descr="Person symbol">
            <a:extLst>
              <a:ext uri="{FF2B5EF4-FFF2-40B4-BE49-F238E27FC236}">
                <a16:creationId xmlns:a16="http://schemas.microsoft.com/office/drawing/2014/main" id="{7C2CAD73-DBCE-45ED-BA27-56AA3F0E1E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2749" y="1231902"/>
            <a:ext cx="1896447" cy="189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87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HREDD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ensure that the material is eligible for shredding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90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GARBA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separate garbage from recyclables and place all garbage in the designated bin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596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MEDI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types of CDs, DVDs, etc. that require secure disposal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47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CLAMATIO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surplus assets (technology) should be marked and place here. If it is too heavy to relocate, please label accordingly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01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PAPER RECYCL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separate paper from other materials (i.e. plastic and metal). All secure documents past their retention period should be shredded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322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OFFICE SUPPLI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ace surplus office supplies in the designated boxes. This includes pens, notebooks, staplers, rulers, scissors, binders or any other usable office supplie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41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URPLUS FURNITU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rk all unused and broken furniture as “surplus” using the labels provided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556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62</TotalTime>
  <Words>429</Words>
  <Application>Microsoft Office PowerPoint</Application>
  <PresentationFormat>Widescreen</PresentationFormat>
  <Paragraphs>70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Arial Black</vt:lpstr>
      <vt:lpstr>Arial Rounded MT Bold</vt:lpstr>
      <vt:lpstr>Calibri</vt:lpstr>
      <vt:lpstr>Calibri Light</vt:lpstr>
      <vt:lpstr>Georgia</vt:lpstr>
      <vt:lpstr>1_Office Theme</vt:lpstr>
      <vt:lpstr>2_Office Theme</vt:lpstr>
      <vt:lpstr>think-cell Slide</vt:lpstr>
      <vt:lpstr>Print a set of event day posters for each floor or team. See below for additional set up instructions.  </vt:lpstr>
      <vt:lpstr>Clean-up Captain Hub Please collect all clean-up materials required. Clean-up Captain can assist with any questions.  Thank you for participating</vt:lpstr>
      <vt:lpstr>SHREDDING Please ensure that the material is eligible for shredding.  Thank you for participating</vt:lpstr>
      <vt:lpstr>GARBAGE Please separate garbage from recyclables and place all garbage in the designated bin.  Thank you for participating</vt:lpstr>
      <vt:lpstr>MEDIA All types of CDs, DVDs, etc. that require secure disposal.  Thank you for participating</vt:lpstr>
      <vt:lpstr>RECLAMATION All surplus assets (technology) should be marked and place here. If it is too heavy to relocate, please label accordingly.  Thank you for participating</vt:lpstr>
      <vt:lpstr>PAPER RECYCLING Please separate paper from other materials (i.e. plastic and metal). All secure documents past their retention period should be shredded.   Thank you for participating</vt:lpstr>
      <vt:lpstr>OFFICE SUPPLIES Place surplus office supplies in the designated boxes. This includes pens, notebooks, staplers, rulers, scissors, binders or any other usable office supplies.   Thank you for participating</vt:lpstr>
      <vt:lpstr>SURPLUS FURNITURE Mark all unused and broken furniture as “surplus” using the labels provided.   Thank you for participating</vt:lpstr>
      <vt:lpstr>IT EQUIPMENT Surplus IT equipment and peripherals should be placed here to return to IT.  Thank you for participating</vt:lpstr>
      <vt:lpstr>RETAINED ASSETS All sorted business assets identified for retention. Please label and identify according to the instructions provided in your guide.   Thank you for participating</vt:lpstr>
      <vt:lpstr>DISINFECTING Please use the provided sanitization items to clean all contacted surfaces. PPE is also provided, please wear as advise.  Thank you for participat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Sophie Genereux</cp:lastModifiedBy>
  <cp:revision>72</cp:revision>
  <dcterms:created xsi:type="dcterms:W3CDTF">2016-09-22T13:56:19Z</dcterms:created>
  <dcterms:modified xsi:type="dcterms:W3CDTF">2022-08-30T15:03:09Z</dcterms:modified>
</cp:coreProperties>
</file>